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548" r:id="rId8"/>
  </p:sldMasterIdLst>
  <p:notesMasterIdLst>
    <p:notesMasterId r:id="rId18"/>
  </p:notesMasterIdLst>
  <p:handoutMasterIdLst>
    <p:handoutMasterId r:id="rId19"/>
  </p:handoutMasterIdLst>
  <p:sldIdLst>
    <p:sldId id="332" r:id="rId9"/>
    <p:sldId id="346" r:id="rId10"/>
    <p:sldId id="341" r:id="rId11"/>
    <p:sldId id="342" r:id="rId12"/>
    <p:sldId id="344" r:id="rId13"/>
    <p:sldId id="343" r:id="rId14"/>
    <p:sldId id="347" r:id="rId15"/>
    <p:sldId id="345" r:id="rId16"/>
    <p:sldId id="340" r:id="rId17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6"/>
            <p14:sldId id="341"/>
            <p14:sldId id="342"/>
            <p14:sldId id="344"/>
            <p14:sldId id="343"/>
            <p14:sldId id="347"/>
            <p14:sldId id="345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294"/>
    <a:srgbClr val="389E7E"/>
    <a:srgbClr val="E4E4E4"/>
    <a:srgbClr val="202020"/>
    <a:srgbClr val="01557E"/>
    <a:srgbClr val="FD7D7B"/>
    <a:srgbClr val="9078FC"/>
    <a:srgbClr val="F5F5F5"/>
    <a:srgbClr val="00FFFD"/>
    <a:srgbClr val="00FF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21" autoAdjust="0"/>
    <p:restoredTop sz="82452" autoAdjust="0"/>
  </p:normalViewPr>
  <p:slideViewPr>
    <p:cSldViewPr>
      <p:cViewPr varScale="1">
        <p:scale>
          <a:sx n="65" d="100"/>
          <a:sy n="65" d="100"/>
        </p:scale>
        <p:origin x="428" y="44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23/2015 12:12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23/2015 12:12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indows Insider-&gt;</a:t>
            </a:r>
            <a:r>
              <a:rPr lang="en-US" dirty="0" err="1" smtClean="0"/>
              <a:t>Desarrolo</a:t>
            </a:r>
            <a:r>
              <a:rPr lang="en-US" dirty="0" smtClean="0"/>
              <a:t> </a:t>
            </a:r>
            <a:r>
              <a:rPr lang="en-US" dirty="0" err="1" smtClean="0"/>
              <a:t>abierto</a:t>
            </a:r>
            <a:r>
              <a:rPr lang="en-US" dirty="0" smtClean="0"/>
              <a:t>, feedback</a:t>
            </a:r>
            <a:r>
              <a:rPr lang="en-US" baseline="0" dirty="0" smtClean="0"/>
              <a:t> (edge </a:t>
            </a:r>
            <a:r>
              <a:rPr lang="en-US" baseline="0" dirty="0" err="1" smtClean="0"/>
              <a:t>loppback</a:t>
            </a:r>
            <a:r>
              <a:rPr lang="en-US" baseline="0" dirty="0" smtClean="0"/>
              <a:t>)</a:t>
            </a:r>
          </a:p>
          <a:p>
            <a:r>
              <a:rPr lang="en-US" baseline="0" dirty="0" err="1" smtClean="0"/>
              <a:t>Historia</a:t>
            </a:r>
            <a:r>
              <a:rPr lang="en-US" baseline="0" dirty="0" smtClean="0"/>
              <a:t> de Windows-&gt; </a:t>
            </a:r>
            <a:r>
              <a:rPr lang="en-US" baseline="0" dirty="0" err="1" smtClean="0"/>
              <a:t>Primera</a:t>
            </a:r>
            <a:r>
              <a:rPr lang="en-US" baseline="0" dirty="0" smtClean="0"/>
              <a:t> version </a:t>
            </a:r>
            <a:r>
              <a:rPr lang="en-US" baseline="0" dirty="0" err="1" smtClean="0"/>
              <a:t>unic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OneCore</a:t>
            </a:r>
            <a:endParaRPr lang="en-US" baseline="0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3/2015 12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872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</a:t>
            </a:r>
            <a:r>
              <a:rPr lang="en-US" dirty="0" err="1" smtClean="0"/>
              <a:t>Obvio</a:t>
            </a:r>
            <a:endParaRPr lang="en-US" dirty="0" smtClean="0"/>
          </a:p>
          <a:p>
            <a:r>
              <a:rPr lang="en-US" dirty="0" smtClean="0"/>
              <a:t>-</a:t>
            </a:r>
            <a:r>
              <a:rPr lang="en-US" dirty="0" err="1" smtClean="0"/>
              <a:t>Ventajas</a:t>
            </a:r>
            <a:r>
              <a:rPr lang="en-US" baseline="0" dirty="0" smtClean="0"/>
              <a:t> para </a:t>
            </a:r>
            <a:r>
              <a:rPr lang="en-US" baseline="0" dirty="0" err="1" smtClean="0"/>
              <a:t>desarrollador</a:t>
            </a:r>
            <a:endParaRPr lang="en-US" baseline="0" dirty="0" smtClean="0"/>
          </a:p>
          <a:p>
            <a:r>
              <a:rPr lang="en-US" baseline="0" dirty="0" smtClean="0"/>
              <a:t>-</a:t>
            </a:r>
            <a:r>
              <a:rPr lang="en-US" baseline="0" dirty="0" err="1" smtClean="0"/>
              <a:t>Ventajas</a:t>
            </a:r>
            <a:r>
              <a:rPr lang="en-US" baseline="0" dirty="0" smtClean="0"/>
              <a:t> para </a:t>
            </a:r>
            <a:r>
              <a:rPr lang="en-US" baseline="0" dirty="0" err="1" smtClean="0"/>
              <a:t>usuario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3/2015 12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6373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Jamas</a:t>
            </a:r>
            <a:r>
              <a:rPr lang="en-US" dirty="0" smtClean="0"/>
              <a:t> </a:t>
            </a:r>
            <a:r>
              <a:rPr lang="en-US" dirty="0" err="1" smtClean="0"/>
              <a:t>hemos</a:t>
            </a:r>
            <a:r>
              <a:rPr lang="en-US" dirty="0" smtClean="0"/>
              <a:t> </a:t>
            </a:r>
            <a:r>
              <a:rPr lang="en-US" dirty="0" err="1" smtClean="0"/>
              <a:t>tenido</a:t>
            </a:r>
            <a:r>
              <a:rPr lang="en-US" dirty="0" smtClean="0"/>
              <a:t> </a:t>
            </a:r>
            <a:r>
              <a:rPr lang="en-US" dirty="0" err="1" smtClean="0"/>
              <a:t>este</a:t>
            </a:r>
            <a:r>
              <a:rPr lang="en-US" dirty="0" smtClean="0"/>
              <a:t> </a:t>
            </a:r>
            <a:r>
              <a:rPr lang="en-US" dirty="0" err="1" smtClean="0"/>
              <a:t>poder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3/2015 12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99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Edge-&gt;Evergreen</a:t>
            </a:r>
          </a:p>
          <a:p>
            <a:r>
              <a:rPr lang="en-US" dirty="0" smtClean="0"/>
              <a:t>-</a:t>
            </a:r>
            <a:r>
              <a:rPr lang="en-US" dirty="0" err="1" smtClean="0"/>
              <a:t>Chackra</a:t>
            </a:r>
            <a:r>
              <a:rPr lang="en-US" dirty="0" smtClean="0"/>
              <a:t>-&gt;El mas </a:t>
            </a:r>
            <a:r>
              <a:rPr lang="en-US" dirty="0" err="1" smtClean="0"/>
              <a:t>rapido</a:t>
            </a:r>
            <a:r>
              <a:rPr lang="en-US" dirty="0" smtClean="0"/>
              <a:t> y major </a:t>
            </a:r>
            <a:r>
              <a:rPr lang="en-US" dirty="0" err="1" smtClean="0"/>
              <a:t>soporte</a:t>
            </a:r>
            <a:r>
              <a:rPr lang="en-US" baseline="0" dirty="0" smtClean="0"/>
              <a:t> para ES6</a:t>
            </a:r>
          </a:p>
          <a:p>
            <a:r>
              <a:rPr lang="en-US" baseline="0" dirty="0" smtClean="0"/>
              <a:t>-CSP-&gt; W8 </a:t>
            </a:r>
            <a:r>
              <a:rPr lang="en-US" baseline="0" dirty="0" err="1" smtClean="0"/>
              <a:t>limitado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ermi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tablec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estr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pi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litica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seguridad</a:t>
            </a:r>
            <a:endParaRPr lang="en-US" baseline="0" dirty="0" smtClean="0"/>
          </a:p>
          <a:p>
            <a:r>
              <a:rPr lang="en-US" baseline="0" dirty="0" smtClean="0"/>
              <a:t>-</a:t>
            </a:r>
            <a:r>
              <a:rPr lang="en-US" baseline="0" dirty="0" err="1" smtClean="0"/>
              <a:t>Igual</a:t>
            </a:r>
            <a:r>
              <a:rPr lang="en-US" baseline="0" dirty="0" smtClean="0"/>
              <a:t> que C# o C</a:t>
            </a:r>
            <a:r>
              <a:rPr lang="en-US" baseline="0" dirty="0" smtClean="0"/>
              <a:t>++</a:t>
            </a:r>
          </a:p>
          <a:p>
            <a:r>
              <a:rPr lang="en-US" baseline="0" dirty="0" smtClean="0"/>
              <a:t>-Sway vs Word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3/2015 12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797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Short</a:t>
            </a:r>
            <a:r>
              <a:rPr lang="en-US" baseline="0" dirty="0" smtClean="0"/>
              <a:t> demo 1</a:t>
            </a:r>
          </a:p>
          <a:p>
            <a:r>
              <a:rPr lang="en-US" baseline="0" dirty="0" smtClean="0"/>
              <a:t>-Lab 13</a:t>
            </a:r>
          </a:p>
          <a:p>
            <a:r>
              <a:rPr lang="en-US" baseline="0" dirty="0" smtClean="0"/>
              <a:t>-</a:t>
            </a:r>
            <a:r>
              <a:rPr lang="en-US" baseline="0" dirty="0" err="1" smtClean="0"/>
              <a:t>dreamspark</a:t>
            </a:r>
            <a:r>
              <a:rPr lang="en-US" baseline="0" dirty="0" smtClean="0"/>
              <a:t> -&gt;dev.windows.com -&gt;store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3/2015 12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281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23/2015 12:1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980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2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7287" y="2452402"/>
            <a:ext cx="7922679" cy="1679076"/>
          </a:xfrm>
        </p:spPr>
        <p:txBody>
          <a:bodyPr anchor="b">
            <a:noAutofit/>
          </a:bodyPr>
          <a:lstStyle>
            <a:lvl1pPr algn="r">
              <a:defRPr sz="5507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7287" y="4131475"/>
            <a:ext cx="7922679" cy="1118735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710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8697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2754635"/>
            <a:ext cx="8769049" cy="1862943"/>
          </a:xfrm>
        </p:spPr>
        <p:txBody>
          <a:bodyPr anchor="b"/>
          <a:lstStyle>
            <a:lvl1pPr algn="l">
              <a:defRPr sz="408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877528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0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0916" y="2203601"/>
            <a:ext cx="4267934" cy="395802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034" y="2203601"/>
            <a:ext cx="4267933" cy="395802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533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296" y="2204003"/>
            <a:ext cx="4269553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9296" y="2791737"/>
            <a:ext cx="4269553" cy="336989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90416" y="2204003"/>
            <a:ext cx="4269548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90417" y="2791737"/>
            <a:ext cx="4269547" cy="336989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206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5926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95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1528437"/>
            <a:ext cx="3931819" cy="1303917"/>
          </a:xfrm>
        </p:spPr>
        <p:txBody>
          <a:bodyPr anchor="b">
            <a:normAutofit/>
          </a:bodyPr>
          <a:lstStyle>
            <a:lvl1pPr>
              <a:defRPr sz="204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919" y="525175"/>
            <a:ext cx="4604047" cy="5636454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6" y="2832354"/>
            <a:ext cx="3931819" cy="2635899"/>
          </a:xfrm>
        </p:spPr>
        <p:txBody>
          <a:bodyPr>
            <a:normAutofit/>
          </a:bodyPr>
          <a:lstStyle>
            <a:lvl1pPr marL="0" indent="0">
              <a:buNone/>
              <a:defRPr sz="1428"/>
            </a:lvl1pPr>
            <a:lvl2pPr marL="466159" indent="0">
              <a:buNone/>
              <a:defRPr sz="1428"/>
            </a:lvl2pPr>
            <a:lvl3pPr marL="932317" indent="0">
              <a:buNone/>
              <a:defRPr sz="1224"/>
            </a:lvl3pPr>
            <a:lvl4pPr marL="1398476" indent="0">
              <a:buNone/>
              <a:defRPr sz="1020"/>
            </a:lvl4pPr>
            <a:lvl5pPr marL="1864633" indent="0">
              <a:buNone/>
              <a:defRPr sz="1020"/>
            </a:lvl5pPr>
            <a:lvl6pPr marL="2330792" indent="0">
              <a:buNone/>
              <a:defRPr sz="1020"/>
            </a:lvl6pPr>
            <a:lvl7pPr marL="2796950" indent="0">
              <a:buNone/>
              <a:defRPr sz="1020"/>
            </a:lvl7pPr>
            <a:lvl8pPr marL="3263109" indent="0">
              <a:buNone/>
              <a:defRPr sz="1020"/>
            </a:lvl8pPr>
            <a:lvl9pPr marL="3729267" indent="0">
              <a:buNone/>
              <a:defRPr sz="102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279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4896168"/>
            <a:ext cx="8769048" cy="578020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0916" y="621736"/>
            <a:ext cx="8769049" cy="3922276"/>
          </a:xfrm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7" y="5474188"/>
            <a:ext cx="8769048" cy="687442"/>
          </a:xfrm>
        </p:spPr>
        <p:txBody>
          <a:bodyPr>
            <a:normAutofit/>
          </a:bodyPr>
          <a:lstStyle>
            <a:lvl1pPr marL="0" indent="0">
              <a:buNone/>
              <a:defRPr sz="1224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533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621735"/>
            <a:ext cx="8769049" cy="3471357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402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93533" y="3704508"/>
            <a:ext cx="7369391" cy="38858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3508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1970449"/>
            <a:ext cx="8769049" cy="2647129"/>
          </a:xfrm>
        </p:spPr>
        <p:txBody>
          <a:bodyPr anchor="b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036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63012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551" y="621736"/>
            <a:ext cx="8760414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accent1"/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21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8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7442" y="621735"/>
            <a:ext cx="1330906" cy="5355994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917" y="621735"/>
            <a:ext cx="7201721" cy="535599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997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6" y="2203601"/>
            <a:ext cx="8769049" cy="395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9612" y="6161630"/>
            <a:ext cx="93022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23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916" y="6161630"/>
            <a:ext cx="6423892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2924" y="6161630"/>
            <a:ext cx="697041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83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  <p:sldLayoutId id="2147484565" r:id="rId1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66298" rtl="0" eaLnBrk="1" latinLnBrk="0" hangingPunct="1">
        <a:spcBef>
          <a:spcPct val="0"/>
        </a:spcBef>
        <a:buNone/>
        <a:defRPr sz="3672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9724" indent="-349724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36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65746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2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32044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98342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426348" y="1516062"/>
            <a:ext cx="11196624" cy="1975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Apps en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JavaScript</a:t>
            </a:r>
          </a:p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ara 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Windows 10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6363" y="-465138"/>
            <a:ext cx="12801600" cy="8001001"/>
          </a:xfrm>
        </p:spPr>
      </p:pic>
    </p:spTree>
    <p:extLst>
      <p:ext uri="{BB962C8B-B14F-4D97-AF65-F5344CB8AC3E}">
        <p14:creationId xmlns:p14="http://schemas.microsoft.com/office/powerpoint/2010/main" val="295366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una app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557212" y="1910131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dirty="0" smtClean="0"/>
              <a:t>Es un programa de ordenador.</a:t>
            </a:r>
          </a:p>
          <a:p>
            <a:endParaRPr lang="es-ES" sz="3200" dirty="0" smtClean="0"/>
          </a:p>
          <a:p>
            <a:r>
              <a:rPr lang="es-ES" sz="3200" dirty="0" smtClean="0"/>
              <a:t>Esta empaquetada y se distribuye</a:t>
            </a:r>
          </a:p>
          <a:p>
            <a:pPr marL="0" indent="0">
              <a:buNone/>
            </a:pPr>
            <a:r>
              <a:rPr lang="es-ES" sz="3200" dirty="0"/>
              <a:t> </a:t>
            </a:r>
            <a:r>
              <a:rPr lang="es-ES" sz="3200" dirty="0" smtClean="0"/>
              <a:t>  a través de una tienda.</a:t>
            </a:r>
          </a:p>
          <a:p>
            <a:endParaRPr lang="es-ES" sz="3200" dirty="0" smtClean="0"/>
          </a:p>
          <a:p>
            <a:r>
              <a:rPr lang="es-ES" sz="3200" dirty="0" smtClean="0"/>
              <a:t>Mayor seguridad: </a:t>
            </a:r>
            <a:r>
              <a:rPr lang="es-ES" sz="3200" dirty="0" err="1" smtClean="0"/>
              <a:t>sandbox</a:t>
            </a:r>
            <a:r>
              <a:rPr lang="es-ES" sz="3200" dirty="0" smtClean="0"/>
              <a:t>, permisos…</a:t>
            </a:r>
          </a:p>
          <a:p>
            <a:pPr marL="0" indent="0">
              <a:buNone/>
            </a:pPr>
            <a:endParaRPr lang="es-ES" sz="2800" dirty="0" smtClean="0"/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una app para W10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smtClean="0"/>
              <a:t>Puede estar escrita en C# / C++ / VB / JS</a:t>
            </a:r>
          </a:p>
          <a:p>
            <a:pPr marL="0" indent="0">
              <a:buNone/>
            </a:pPr>
            <a:endParaRPr lang="es-ES" sz="28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37" y="2506662"/>
            <a:ext cx="8686800" cy="377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5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 fontScale="90000"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Cómo son las apps JS en W10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n-US" sz="3200" dirty="0" err="1" smtClean="0"/>
              <a:t>Usan</a:t>
            </a:r>
            <a:r>
              <a:rPr lang="en-US" sz="3200" dirty="0" smtClean="0"/>
              <a:t> Microsoft Edge</a:t>
            </a:r>
          </a:p>
          <a:p>
            <a:pPr lvl="1"/>
            <a:r>
              <a:rPr lang="en-US" sz="2792" dirty="0" smtClean="0"/>
              <a:t>Render compatible con </a:t>
            </a:r>
            <a:r>
              <a:rPr lang="en-US" sz="2792" dirty="0" err="1" smtClean="0"/>
              <a:t>WebKit</a:t>
            </a:r>
            <a:endParaRPr lang="en-US" sz="2792" dirty="0"/>
          </a:p>
          <a:p>
            <a:pPr lvl="1"/>
            <a:r>
              <a:rPr lang="en-US" sz="2792" dirty="0" smtClean="0"/>
              <a:t>El motor de JS </a:t>
            </a:r>
            <a:r>
              <a:rPr lang="en-US" sz="2792" dirty="0" err="1" smtClean="0"/>
              <a:t>es</a:t>
            </a:r>
            <a:r>
              <a:rPr lang="en-US" sz="2792" dirty="0" smtClean="0"/>
              <a:t> </a:t>
            </a:r>
            <a:r>
              <a:rPr lang="en-US" sz="2792" dirty="0" err="1" smtClean="0"/>
              <a:t>Chackra</a:t>
            </a:r>
            <a:endParaRPr lang="en-US" sz="2792" dirty="0" smtClean="0"/>
          </a:p>
          <a:p>
            <a:pPr lvl="1"/>
            <a:endParaRPr lang="es-ES" sz="2792" dirty="0"/>
          </a:p>
          <a:p>
            <a:r>
              <a:rPr lang="en-US" sz="2996" dirty="0" err="1" smtClean="0"/>
              <a:t>Seguridad</a:t>
            </a:r>
            <a:r>
              <a:rPr lang="en-US" sz="2996" dirty="0" smtClean="0"/>
              <a:t> </a:t>
            </a:r>
            <a:r>
              <a:rPr lang="en-US" sz="2996" dirty="0" err="1" smtClean="0"/>
              <a:t>mediante</a:t>
            </a:r>
            <a:r>
              <a:rPr lang="en-US" sz="2996" dirty="0" smtClean="0"/>
              <a:t> Content Security Policy</a:t>
            </a:r>
          </a:p>
          <a:p>
            <a:endParaRPr lang="en-US" sz="2996" dirty="0"/>
          </a:p>
          <a:p>
            <a:r>
              <a:rPr lang="en-US" sz="2996" dirty="0" err="1" smtClean="0"/>
              <a:t>Acceso</a:t>
            </a:r>
            <a:r>
              <a:rPr lang="en-US" sz="2996" dirty="0" smtClean="0"/>
              <a:t> </a:t>
            </a:r>
            <a:r>
              <a:rPr lang="en-US" sz="2996" dirty="0" err="1" smtClean="0"/>
              <a:t>completo</a:t>
            </a:r>
            <a:r>
              <a:rPr lang="en-US" sz="2996" dirty="0" smtClean="0"/>
              <a:t> a las APIs de </a:t>
            </a:r>
            <a:r>
              <a:rPr lang="en-US" sz="2996" dirty="0" err="1" smtClean="0"/>
              <a:t>WinRT</a:t>
            </a:r>
            <a:endParaRPr lang="en-US" sz="2996" dirty="0" smtClean="0"/>
          </a:p>
        </p:txBody>
      </p:sp>
    </p:spTree>
    <p:extLst>
      <p:ext uri="{BB962C8B-B14F-4D97-AF65-F5344CB8AC3E}">
        <p14:creationId xmlns:p14="http://schemas.microsoft.com/office/powerpoint/2010/main" val="118428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 fontScale="90000"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Cómo puedo hacer una app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 lnSpcReduction="10000"/>
          </a:bodyPr>
          <a:lstStyle/>
          <a:p>
            <a:r>
              <a:rPr lang="es-ES" sz="3200" dirty="0" err="1" smtClean="0"/>
              <a:t>Packaged</a:t>
            </a:r>
            <a:r>
              <a:rPr lang="es-ES" sz="3200" dirty="0" smtClean="0"/>
              <a:t> web apps</a:t>
            </a:r>
          </a:p>
          <a:p>
            <a:pPr lvl="1"/>
            <a:r>
              <a:rPr lang="en-US" sz="2996" dirty="0" smtClean="0"/>
              <a:t>El archive .</a:t>
            </a:r>
            <a:r>
              <a:rPr lang="en-US" sz="2996" dirty="0" err="1" smtClean="0"/>
              <a:t>appx</a:t>
            </a:r>
            <a:r>
              <a:rPr lang="en-US" sz="2996" dirty="0" smtClean="0"/>
              <a:t> </a:t>
            </a:r>
            <a:r>
              <a:rPr lang="en-US" sz="2996" dirty="0" err="1" smtClean="0"/>
              <a:t>contiene</a:t>
            </a:r>
            <a:r>
              <a:rPr lang="en-US" sz="2996" dirty="0" smtClean="0"/>
              <a:t> </a:t>
            </a:r>
            <a:r>
              <a:rPr lang="en-US" sz="2996" dirty="0" err="1" smtClean="0"/>
              <a:t>nuestros</a:t>
            </a:r>
            <a:r>
              <a:rPr lang="en-US" sz="2996" dirty="0" smtClean="0"/>
              <a:t> .html, .</a:t>
            </a:r>
            <a:r>
              <a:rPr lang="en-US" sz="2996" dirty="0" err="1" smtClean="0"/>
              <a:t>js</a:t>
            </a:r>
            <a:r>
              <a:rPr lang="en-US" sz="2996" dirty="0" smtClean="0"/>
              <a:t>, .</a:t>
            </a:r>
            <a:r>
              <a:rPr lang="en-US" sz="2996" dirty="0" err="1" smtClean="0"/>
              <a:t>css</a:t>
            </a:r>
            <a:r>
              <a:rPr lang="en-US" sz="2996" dirty="0" smtClean="0"/>
              <a:t> …</a:t>
            </a:r>
          </a:p>
          <a:p>
            <a:pPr lvl="1"/>
            <a:endParaRPr lang="en-US" sz="2996" dirty="0"/>
          </a:p>
          <a:p>
            <a:r>
              <a:rPr lang="en-US" sz="3200" dirty="0" smtClean="0"/>
              <a:t>Hosted web apps</a:t>
            </a:r>
          </a:p>
          <a:p>
            <a:pPr lvl="1"/>
            <a:r>
              <a:rPr lang="en-US" sz="2996" dirty="0" smtClean="0"/>
              <a:t>Los </a:t>
            </a:r>
            <a:r>
              <a:rPr lang="en-US" sz="2996" dirty="0" err="1" smtClean="0"/>
              <a:t>archivos</a:t>
            </a:r>
            <a:r>
              <a:rPr lang="en-US" sz="2996" dirty="0" smtClean="0"/>
              <a:t> </a:t>
            </a:r>
            <a:r>
              <a:rPr lang="en-US" sz="2996" dirty="0" err="1" smtClean="0"/>
              <a:t>estan</a:t>
            </a:r>
            <a:r>
              <a:rPr lang="en-US" sz="2996" dirty="0" smtClean="0"/>
              <a:t> </a:t>
            </a:r>
            <a:r>
              <a:rPr lang="en-US" sz="2996" dirty="0" err="1" smtClean="0"/>
              <a:t>en</a:t>
            </a:r>
            <a:r>
              <a:rPr lang="en-US" sz="2996" dirty="0" smtClean="0"/>
              <a:t> un </a:t>
            </a:r>
            <a:r>
              <a:rPr lang="en-US" sz="2996" dirty="0" err="1" smtClean="0"/>
              <a:t>servidor</a:t>
            </a:r>
            <a:r>
              <a:rPr lang="en-US" sz="2996" dirty="0" smtClean="0"/>
              <a:t> </a:t>
            </a:r>
            <a:r>
              <a:rPr lang="en-US" sz="2996" dirty="0" err="1" smtClean="0"/>
              <a:t>propio</a:t>
            </a:r>
            <a:endParaRPr lang="en-US" sz="2996" dirty="0" smtClean="0"/>
          </a:p>
          <a:p>
            <a:endParaRPr lang="en-US" sz="3200" dirty="0"/>
          </a:p>
          <a:p>
            <a:r>
              <a:rPr lang="en-US" sz="3200" dirty="0" smtClean="0"/>
              <a:t>Embedded web apps</a:t>
            </a:r>
            <a:endParaRPr lang="es-ES" sz="2800" dirty="0"/>
          </a:p>
          <a:p>
            <a:pPr lvl="1"/>
            <a:r>
              <a:rPr lang="en-US" sz="2996" dirty="0" err="1" smtClean="0"/>
              <a:t>Aplicación</a:t>
            </a:r>
            <a:r>
              <a:rPr lang="en-US" sz="2996" dirty="0" smtClean="0"/>
              <a:t> </a:t>
            </a:r>
            <a:r>
              <a:rPr lang="en-US" sz="2996" dirty="0" err="1" smtClean="0"/>
              <a:t>nativa</a:t>
            </a:r>
            <a:r>
              <a:rPr lang="en-US" sz="2996" dirty="0" smtClean="0"/>
              <a:t> con </a:t>
            </a:r>
            <a:r>
              <a:rPr lang="en-US" sz="2996" dirty="0" err="1" smtClean="0"/>
              <a:t>webviews</a:t>
            </a:r>
            <a:endParaRPr lang="es-ES" sz="2996" dirty="0" smtClean="0"/>
          </a:p>
        </p:txBody>
      </p:sp>
    </p:spTree>
    <p:extLst>
      <p:ext uri="{BB962C8B-B14F-4D97-AF65-F5344CB8AC3E}">
        <p14:creationId xmlns:p14="http://schemas.microsoft.com/office/powerpoint/2010/main" val="104832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34449" y="2659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¡</a:t>
            </a:r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o time!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3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52502" y="1934310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n-US" sz="4800" dirty="0" smtClean="0">
                <a:solidFill>
                  <a:schemeClr val="bg1"/>
                </a:solidFill>
              </a:rPr>
              <a:t>msdn.com</a:t>
            </a:r>
          </a:p>
          <a:p>
            <a:pPr>
              <a:spcAft>
                <a:spcPts val="1199"/>
              </a:spcAft>
            </a:pPr>
            <a:r>
              <a:rPr lang="en-US" sz="4800" dirty="0" smtClean="0">
                <a:solidFill>
                  <a:schemeClr val="bg1"/>
                </a:solidFill>
              </a:rPr>
              <a:t>channel9.msdn.com</a:t>
            </a:r>
          </a:p>
          <a:p>
            <a:pPr>
              <a:spcAft>
                <a:spcPts val="1199"/>
              </a:spcAft>
            </a:pPr>
            <a:r>
              <a:rPr lang="en-US" sz="4800" dirty="0" smtClean="0">
                <a:solidFill>
                  <a:schemeClr val="bg1"/>
                </a:solidFill>
              </a:rPr>
              <a:t>insider.windows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Recurso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412096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74420" y="4335462"/>
            <a:ext cx="740183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3200" dirty="0">
                <a:latin typeface="Segoe UI" panose="020B0502040204020203" pitchFamily="34" charset="0"/>
              </a:rPr>
              <a:t>https://github.com/UamNet/TechTalks</a:t>
            </a:r>
            <a:endParaRPr lang="es-ES" sz="3200" dirty="0" smtClean="0">
              <a:latin typeface="Segoe UI" panose="020B0502040204020203" pitchFamily="34" charset="0"/>
            </a:endParaRPr>
          </a:p>
          <a:p>
            <a:pPr algn="ctr"/>
            <a:endParaRPr lang="es-ES" sz="3200" dirty="0">
              <a:latin typeface="Segoe UI" panose="020B0502040204020203" pitchFamily="34" charset="0"/>
            </a:endParaRPr>
          </a:p>
          <a:p>
            <a:pPr algn="ctr"/>
            <a:r>
              <a:rPr lang="es-ES" sz="3200" dirty="0" smtClean="0">
                <a:latin typeface="Segoe UI" panose="020B0502040204020203" pitchFamily="34" charset="0"/>
              </a:rPr>
              <a:t>https</a:t>
            </a:r>
            <a:r>
              <a:rPr lang="es-ES" sz="3200" dirty="0">
                <a:latin typeface="Segoe UI" panose="020B0502040204020203" pitchFamily="34" charset="0"/>
              </a:rPr>
              <a:t>://github.com/arcadiogarcia/Lab13</a:t>
            </a:r>
            <a:endParaRPr lang="en-US" sz="3200" dirty="0" smtClean="0"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237" y="7540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972</TotalTime>
  <Words>457</Words>
  <Application>Microsoft Office PowerPoint</Application>
  <PresentationFormat>Custom</PresentationFormat>
  <Paragraphs>79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3" baseType="lpstr">
      <vt:lpstr>Arial</vt:lpstr>
      <vt:lpstr>Avenir LT Pro 45 Book</vt:lpstr>
      <vt:lpstr>Consolas</vt:lpstr>
      <vt:lpstr>ＭＳ Ｐゴシック</vt:lpstr>
      <vt:lpstr>Segoe UI</vt:lpstr>
      <vt:lpstr>Segoe UI Light</vt:lpstr>
      <vt:lpstr>Trebuchet MS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Facet</vt:lpstr>
      <vt:lpstr>think-cell Slide</vt:lpstr>
      <vt:lpstr>PowerPoint Presentation</vt:lpstr>
      <vt:lpstr>PowerPoint Presentation</vt:lpstr>
      <vt:lpstr>¿Qué es una app?</vt:lpstr>
      <vt:lpstr>¿Qué es una app para W10?</vt:lpstr>
      <vt:lpstr>¿Cómo son las apps JS en W10?</vt:lpstr>
      <vt:lpstr>¿Cómo puedo hacer una app?</vt:lpstr>
      <vt:lpstr>¡Demo time!</vt:lpstr>
      <vt:lpstr>Recurso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25</cp:revision>
  <dcterms:created xsi:type="dcterms:W3CDTF">2015-04-29T17:53:46Z</dcterms:created>
  <dcterms:modified xsi:type="dcterms:W3CDTF">2015-10-22T22:1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